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F769AC-7A85-49AA-8336-1129E9916C98}" v="32" dt="2025-09-23T19:11:44.5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6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82F769AC-7A85-49AA-8336-1129E9916C98}"/>
    <pc:docChg chg="undo custSel modSld">
      <pc:chgData name="Elizabeth Ohadi" userId="5897eeda-f271-463e-b88c-eb7854f47227" providerId="ADAL" clId="{82F769AC-7A85-49AA-8336-1129E9916C98}" dt="2025-09-23T19:12:27.713" v="324" actId="1076"/>
      <pc:docMkLst>
        <pc:docMk/>
      </pc:docMkLst>
      <pc:sldChg chg="modSp mod">
        <pc:chgData name="Elizabeth Ohadi" userId="5897eeda-f271-463e-b88c-eb7854f47227" providerId="ADAL" clId="{82F769AC-7A85-49AA-8336-1129E9916C98}" dt="2025-09-23T19:12:27.713" v="324" actId="1076"/>
        <pc:sldMkLst>
          <pc:docMk/>
          <pc:sldMk cId="471668765" sldId="283"/>
        </pc:sldMkLst>
        <pc:spChg chg="mod">
          <ac:chgData name="Elizabeth Ohadi" userId="5897eeda-f271-463e-b88c-eb7854f47227" providerId="ADAL" clId="{82F769AC-7A85-49AA-8336-1129E9916C98}" dt="2025-09-23T19:11:32.693" v="304" actId="14100"/>
          <ac:spMkLst>
            <pc:docMk/>
            <pc:sldMk cId="471668765" sldId="283"/>
            <ac:spMk id="2" creationId="{89F47452-90E4-C7F9-0241-B342916167B5}"/>
          </ac:spMkLst>
        </pc:spChg>
        <pc:spChg chg="mod">
          <ac:chgData name="Elizabeth Ohadi" userId="5897eeda-f271-463e-b88c-eb7854f47227" providerId="ADAL" clId="{82F769AC-7A85-49AA-8336-1129E9916C98}" dt="2025-09-23T16:48:42.881" v="1" actId="14100"/>
          <ac:spMkLst>
            <pc:docMk/>
            <pc:sldMk cId="471668765" sldId="283"/>
            <ac:spMk id="7" creationId="{E395E9DD-3CA3-F045-9DCB-77E6AAFE6A26}"/>
          </ac:spMkLst>
        </pc:spChg>
        <pc:spChg chg="mod">
          <ac:chgData name="Elizabeth Ohadi" userId="5897eeda-f271-463e-b88c-eb7854f47227" providerId="ADAL" clId="{82F769AC-7A85-49AA-8336-1129E9916C98}" dt="2025-09-23T19:12:23.575" v="323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82F769AC-7A85-49AA-8336-1129E9916C98}" dt="2025-09-23T19:11:57.344" v="314" actId="255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82F769AC-7A85-49AA-8336-1129E9916C98}" dt="2025-09-23T19:11:49.904" v="313" actId="1035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82F769AC-7A85-49AA-8336-1129E9916C98}" dt="2025-09-23T19:12:10.663" v="319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82F769AC-7A85-49AA-8336-1129E9916C98}" dt="2025-09-23T19:12:03.692" v="318" actId="1035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82F769AC-7A85-49AA-8336-1129E9916C98}" dt="2025-09-23T19:11:44.540" v="306" actId="1035"/>
          <ac:picMkLst>
            <pc:docMk/>
            <pc:sldMk cId="471668765" sldId="283"/>
            <ac:picMk id="5" creationId="{A8EEE7A9-A03F-C738-FF55-2186C219B94C}"/>
          </ac:picMkLst>
        </pc:picChg>
        <pc:picChg chg="mod">
          <ac:chgData name="Elizabeth Ohadi" userId="5897eeda-f271-463e-b88c-eb7854f47227" providerId="ADAL" clId="{82F769AC-7A85-49AA-8336-1129E9916C98}" dt="2025-09-23T17:18:28.388" v="282" actId="14100"/>
          <ac:picMkLst>
            <pc:docMk/>
            <pc:sldMk cId="471668765" sldId="283"/>
            <ac:picMk id="6" creationId="{537D9BBD-D7F3-9715-3DEB-55B72C553F05}"/>
          </ac:picMkLst>
        </pc:picChg>
        <pc:picChg chg="mod">
          <ac:chgData name="Elizabeth Ohadi" userId="5897eeda-f271-463e-b88c-eb7854f47227" providerId="ADAL" clId="{82F769AC-7A85-49AA-8336-1129E9916C98}" dt="2025-09-23T19:12:20.560" v="322" actId="1076"/>
          <ac:picMkLst>
            <pc:docMk/>
            <pc:sldMk cId="471668765" sldId="283"/>
            <ac:picMk id="12" creationId="{0C34421F-386F-5829-7A6D-523E44B66777}"/>
          </ac:picMkLst>
        </pc:picChg>
        <pc:picChg chg="mod">
          <ac:chgData name="Elizabeth Ohadi" userId="5897eeda-f271-463e-b88c-eb7854f47227" providerId="ADAL" clId="{82F769AC-7A85-49AA-8336-1129E9916C98}" dt="2025-09-23T19:12:27.713" v="324" actId="1076"/>
          <ac:picMkLst>
            <pc:docMk/>
            <pc:sldMk cId="471668765" sldId="283"/>
            <ac:picMk id="13" creationId="{EDC756BE-82ED-13B5-C720-227DEC008EA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9846" y="1009245"/>
            <a:ext cx="9060808" cy="5387436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1070B8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ngol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070B8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</a:t>
            </a: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ount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07-09 October 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0" y="6294678"/>
            <a:ext cx="9144000" cy="5633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89" y="6327234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346919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315931"/>
              </p:ext>
            </p:extLst>
          </p:nvPr>
        </p:nvGraphicFramePr>
        <p:xfrm>
          <a:off x="4040037" y="1012965"/>
          <a:ext cx="5040763" cy="189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6532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624738">
                <a:tc>
                  <a:txBody>
                    <a:bodyPr/>
                    <a:lstStyle/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ystemic underinvestment in health system infrastructure and workforce development 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imited municipal autonomy and inadequate allocation from national budget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Fragmented planning and accountability mechanisms at subnational levels limit effective adaptation to local challenges</a:t>
                      </a:r>
                    </a:p>
                    <a:p>
                      <a:pPr marL="171450" marR="0" lvl="0" indent="-171450" algn="l" defTabSz="914209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ockouts and unreliable vaccine supply logistics disrupting routine delivery 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Weak engagement with civil society and community leaders and mistrust in health services, limiting demand generation efforts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98082"/>
              </p:ext>
            </p:extLst>
          </p:nvPr>
        </p:nvGraphicFramePr>
        <p:xfrm>
          <a:off x="4040036" y="2940581"/>
          <a:ext cx="5040763" cy="1475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1812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56881">
                <a:tc>
                  <a:txBody>
                    <a:bodyPr/>
                    <a:lstStyle/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bilization of additional resources to support municipal level activities in selected provinces with considerable number of unvaccinated children.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crease in routine vaccination units and reinforce mobile vaccination in coordination with communities.</a:t>
                      </a:r>
                    </a:p>
                    <a:p>
                      <a:pPr marL="171450" lvl="0" indent="-171450" algn="l" defTabSz="914209" rtl="0" eaLnBrk="1" fontAlgn="base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Use of a digital platform to better manage vaccination logistics in real time to avoid vaccine stock outage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441941"/>
              </p:ext>
            </p:extLst>
          </p:nvPr>
        </p:nvGraphicFramePr>
        <p:xfrm>
          <a:off x="43346" y="4048447"/>
          <a:ext cx="3960345" cy="2222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345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84368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 to improve coverage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38280"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pt-BR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I Project </a:t>
                      </a:r>
                      <a:r>
                        <a:rPr lang="pt-BR" sz="10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mplemented</a:t>
                      </a:r>
                      <a:r>
                        <a:rPr lang="pt-BR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in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22 municipalities in 5 provinces during 2022-2023 - intensification of routine vaccination providing all EPI child vaccines to children up to 5 years 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171450" lvl="0" indent="-1714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easles campaign to control outbreak expanded to target children up to 5 years of age and multiple municipalities</a:t>
                      </a:r>
                    </a:p>
                    <a:p>
                      <a:pPr marL="171450" lvl="0" indent="-1714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ational Polio Vaccination Campaign in May, June and Sept 2024 to control circulating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type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2 vaccine-derived poliovirus (cVDPV2)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137659"/>
              </p:ext>
            </p:extLst>
          </p:nvPr>
        </p:nvGraphicFramePr>
        <p:xfrm>
          <a:off x="4040036" y="4447683"/>
          <a:ext cx="5040763" cy="1823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763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56702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56671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Efforts to restore coverages have shown results in 2023 coverage indicators, but emergencies and outbreaks  have impacted and interfered with strategies and activities for restoring backsliding coverag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Real time digital data platform </a:t>
                      </a:r>
                      <a:r>
                        <a:rPr lang="pt-PT" sz="1000" b="0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(REDIV) used during the COVID-19 pandemic to monitor vaccine coverage was successful and seen as an example for routine program u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PT" sz="1000" b="0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lio campaigns (3 rounds), tetanus maternal vaccination campaign, and measles campaign rollouts successfully completed in 2024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A8EEE7A9-A03F-C738-FF55-2186C219B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45" y="1019303"/>
            <a:ext cx="3960345" cy="300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>
            <a:extLst>
              <a:ext uri="{FF2B5EF4-FFF2-40B4-BE49-F238E27FC236}">
                <a16:creationId xmlns:a16="http://schemas.microsoft.com/office/drawing/2014/main" id="{537D9BBD-D7F3-9715-3DEB-55B72C553F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262202" y="60201"/>
            <a:ext cx="1280160" cy="85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F60BD8-D668-47DF-AE94-9D3E1BA7162F}">
  <ds:schemaRefs>
    <ds:schemaRef ds:uri="http://schemas.microsoft.com/office/2006/documentManagement/types"/>
    <ds:schemaRef ds:uri="bcb27da4-2e3e-416a-a040-6d0b2e3a2039"/>
    <ds:schemaRef ds:uri="http://purl.org/dc/terms/"/>
    <ds:schemaRef ds:uri="http://schemas.openxmlformats.org/package/2006/metadata/core-properties"/>
    <ds:schemaRef ds:uri="http://www.w3.org/XML/1998/namespace"/>
    <ds:schemaRef ds:uri="a6b7a42b-578f-4fd1-9d67-5a3066b9c5a5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270</TotalTime>
  <Words>293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5</cp:revision>
  <dcterms:created xsi:type="dcterms:W3CDTF">2024-04-05T17:45:07Z</dcterms:created>
  <dcterms:modified xsi:type="dcterms:W3CDTF">2025-09-23T19:1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